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8" r:id="rId1"/>
  </p:sldMasterIdLst>
  <p:notesMasterIdLst>
    <p:notesMasterId r:id="rId3"/>
  </p:notesMasterIdLst>
  <p:sldIdLst>
    <p:sldId id="256" r:id="rId2"/>
  </p:sldIdLst>
  <p:sldSz cx="6738938" cy="778351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22"/>
    <p:restoredTop sz="94805"/>
  </p:normalViewPr>
  <p:slideViewPr>
    <p:cSldViewPr snapToGrid="0">
      <p:cViewPr>
        <p:scale>
          <a:sx n="123" d="100"/>
          <a:sy n="123" d="100"/>
        </p:scale>
        <p:origin x="1360" y="-8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BDF57F-61F0-8C47-9E81-7EDC09DDBE21}" type="datetimeFigureOut">
              <a:rPr lang="en-GB" smtClean="0"/>
              <a:t>10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92325" y="1143000"/>
            <a:ext cx="26733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E0E20-4368-8E49-8EB7-DA622E96BB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303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E0E20-4368-8E49-8EB7-DA622E96BB5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741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5421" y="1273830"/>
            <a:ext cx="5728097" cy="2709816"/>
          </a:xfrm>
        </p:spPr>
        <p:txBody>
          <a:bodyPr anchor="b"/>
          <a:lstStyle>
            <a:lvl1pPr algn="ctr">
              <a:defRPr sz="4422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2367" y="4088147"/>
            <a:ext cx="5054204" cy="1879213"/>
          </a:xfrm>
        </p:spPr>
        <p:txBody>
          <a:bodyPr/>
          <a:lstStyle>
            <a:lvl1pPr marL="0" indent="0" algn="ctr">
              <a:buNone/>
              <a:defRPr sz="1769"/>
            </a:lvl1pPr>
            <a:lvl2pPr marL="336956" indent="0" algn="ctr">
              <a:buNone/>
              <a:defRPr sz="1474"/>
            </a:lvl2pPr>
            <a:lvl3pPr marL="673913" indent="0" algn="ctr">
              <a:buNone/>
              <a:defRPr sz="1327"/>
            </a:lvl3pPr>
            <a:lvl4pPr marL="1010869" indent="0" algn="ctr">
              <a:buNone/>
              <a:defRPr sz="1179"/>
            </a:lvl4pPr>
            <a:lvl5pPr marL="1347826" indent="0" algn="ctr">
              <a:buNone/>
              <a:defRPr sz="1179"/>
            </a:lvl5pPr>
            <a:lvl6pPr marL="1684782" indent="0" algn="ctr">
              <a:buNone/>
              <a:defRPr sz="1179"/>
            </a:lvl6pPr>
            <a:lvl7pPr marL="2021738" indent="0" algn="ctr">
              <a:buNone/>
              <a:defRPr sz="1179"/>
            </a:lvl7pPr>
            <a:lvl8pPr marL="2358695" indent="0" algn="ctr">
              <a:buNone/>
              <a:defRPr sz="1179"/>
            </a:lvl8pPr>
            <a:lvl9pPr marL="2695651" indent="0" algn="ctr">
              <a:buNone/>
              <a:defRPr sz="1179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1519075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6298497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822553" y="414400"/>
            <a:ext cx="1453084" cy="659616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3302" y="414400"/>
            <a:ext cx="4275014" cy="659616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627806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21782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793" y="1940475"/>
            <a:ext cx="5812334" cy="3237725"/>
          </a:xfrm>
        </p:spPr>
        <p:txBody>
          <a:bodyPr anchor="b"/>
          <a:lstStyle>
            <a:lvl1pPr>
              <a:defRPr sz="4422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9793" y="5208830"/>
            <a:ext cx="5812334" cy="1702643"/>
          </a:xfrm>
        </p:spPr>
        <p:txBody>
          <a:bodyPr/>
          <a:lstStyle>
            <a:lvl1pPr marL="0" indent="0">
              <a:buNone/>
              <a:defRPr sz="1769">
                <a:solidFill>
                  <a:schemeClr val="tx1">
                    <a:tint val="82000"/>
                  </a:schemeClr>
                </a:solidFill>
              </a:defRPr>
            </a:lvl1pPr>
            <a:lvl2pPr marL="336956" indent="0">
              <a:buNone/>
              <a:defRPr sz="1474">
                <a:solidFill>
                  <a:schemeClr val="tx1">
                    <a:tint val="82000"/>
                  </a:schemeClr>
                </a:solidFill>
              </a:defRPr>
            </a:lvl2pPr>
            <a:lvl3pPr marL="673913" indent="0">
              <a:buNone/>
              <a:defRPr sz="1327">
                <a:solidFill>
                  <a:schemeClr val="tx1">
                    <a:tint val="82000"/>
                  </a:schemeClr>
                </a:solidFill>
              </a:defRPr>
            </a:lvl3pPr>
            <a:lvl4pPr marL="1010869" indent="0">
              <a:buNone/>
              <a:defRPr sz="1179">
                <a:solidFill>
                  <a:schemeClr val="tx1">
                    <a:tint val="82000"/>
                  </a:schemeClr>
                </a:solidFill>
              </a:defRPr>
            </a:lvl4pPr>
            <a:lvl5pPr marL="1347826" indent="0">
              <a:buNone/>
              <a:defRPr sz="1179">
                <a:solidFill>
                  <a:schemeClr val="tx1">
                    <a:tint val="82000"/>
                  </a:schemeClr>
                </a:solidFill>
              </a:defRPr>
            </a:lvl5pPr>
            <a:lvl6pPr marL="1684782" indent="0">
              <a:buNone/>
              <a:defRPr sz="1179">
                <a:solidFill>
                  <a:schemeClr val="tx1">
                    <a:tint val="82000"/>
                  </a:schemeClr>
                </a:solidFill>
              </a:defRPr>
            </a:lvl6pPr>
            <a:lvl7pPr marL="2021738" indent="0">
              <a:buNone/>
              <a:defRPr sz="1179">
                <a:solidFill>
                  <a:schemeClr val="tx1">
                    <a:tint val="82000"/>
                  </a:schemeClr>
                </a:solidFill>
              </a:defRPr>
            </a:lvl7pPr>
            <a:lvl8pPr marL="2358695" indent="0">
              <a:buNone/>
              <a:defRPr sz="1179">
                <a:solidFill>
                  <a:schemeClr val="tx1">
                    <a:tint val="82000"/>
                  </a:schemeClr>
                </a:solidFill>
              </a:defRPr>
            </a:lvl8pPr>
            <a:lvl9pPr marL="2695651" indent="0">
              <a:buNone/>
              <a:defRPr sz="1179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76637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302" y="2072000"/>
            <a:ext cx="2864049" cy="493856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11587" y="2072000"/>
            <a:ext cx="2864049" cy="493856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507857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180" y="414402"/>
            <a:ext cx="5812334" cy="150445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181" y="1908042"/>
            <a:ext cx="2850886" cy="935102"/>
          </a:xfrm>
        </p:spPr>
        <p:txBody>
          <a:bodyPr anchor="b"/>
          <a:lstStyle>
            <a:lvl1pPr marL="0" indent="0">
              <a:buNone/>
              <a:defRPr sz="1769" b="1"/>
            </a:lvl1pPr>
            <a:lvl2pPr marL="336956" indent="0">
              <a:buNone/>
              <a:defRPr sz="1474" b="1"/>
            </a:lvl2pPr>
            <a:lvl3pPr marL="673913" indent="0">
              <a:buNone/>
              <a:defRPr sz="1327" b="1"/>
            </a:lvl3pPr>
            <a:lvl4pPr marL="1010869" indent="0">
              <a:buNone/>
              <a:defRPr sz="1179" b="1"/>
            </a:lvl4pPr>
            <a:lvl5pPr marL="1347826" indent="0">
              <a:buNone/>
              <a:defRPr sz="1179" b="1"/>
            </a:lvl5pPr>
            <a:lvl6pPr marL="1684782" indent="0">
              <a:buNone/>
              <a:defRPr sz="1179" b="1"/>
            </a:lvl6pPr>
            <a:lvl7pPr marL="2021738" indent="0">
              <a:buNone/>
              <a:defRPr sz="1179" b="1"/>
            </a:lvl7pPr>
            <a:lvl8pPr marL="2358695" indent="0">
              <a:buNone/>
              <a:defRPr sz="1179" b="1"/>
            </a:lvl8pPr>
            <a:lvl9pPr marL="2695651" indent="0">
              <a:buNone/>
              <a:defRPr sz="1179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81" y="2843144"/>
            <a:ext cx="2850886" cy="41818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11588" y="1908042"/>
            <a:ext cx="2864926" cy="935102"/>
          </a:xfrm>
        </p:spPr>
        <p:txBody>
          <a:bodyPr anchor="b"/>
          <a:lstStyle>
            <a:lvl1pPr marL="0" indent="0">
              <a:buNone/>
              <a:defRPr sz="1769" b="1"/>
            </a:lvl1pPr>
            <a:lvl2pPr marL="336956" indent="0">
              <a:buNone/>
              <a:defRPr sz="1474" b="1"/>
            </a:lvl2pPr>
            <a:lvl3pPr marL="673913" indent="0">
              <a:buNone/>
              <a:defRPr sz="1327" b="1"/>
            </a:lvl3pPr>
            <a:lvl4pPr marL="1010869" indent="0">
              <a:buNone/>
              <a:defRPr sz="1179" b="1"/>
            </a:lvl4pPr>
            <a:lvl5pPr marL="1347826" indent="0">
              <a:buNone/>
              <a:defRPr sz="1179" b="1"/>
            </a:lvl5pPr>
            <a:lvl6pPr marL="1684782" indent="0">
              <a:buNone/>
              <a:defRPr sz="1179" b="1"/>
            </a:lvl6pPr>
            <a:lvl7pPr marL="2021738" indent="0">
              <a:buNone/>
              <a:defRPr sz="1179" b="1"/>
            </a:lvl7pPr>
            <a:lvl8pPr marL="2358695" indent="0">
              <a:buNone/>
              <a:defRPr sz="1179" b="1"/>
            </a:lvl8pPr>
            <a:lvl9pPr marL="2695651" indent="0">
              <a:buNone/>
              <a:defRPr sz="1179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11588" y="2843144"/>
            <a:ext cx="2864926" cy="41818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213428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510678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722195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180" y="518901"/>
            <a:ext cx="2173483" cy="1816153"/>
          </a:xfrm>
        </p:spPr>
        <p:txBody>
          <a:bodyPr anchor="b"/>
          <a:lstStyle>
            <a:lvl1pPr>
              <a:defRPr sz="2358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64927" y="1120683"/>
            <a:ext cx="3411587" cy="5531339"/>
          </a:xfrm>
        </p:spPr>
        <p:txBody>
          <a:bodyPr/>
          <a:lstStyle>
            <a:lvl1pPr>
              <a:defRPr sz="2358"/>
            </a:lvl1pPr>
            <a:lvl2pPr>
              <a:defRPr sz="2064"/>
            </a:lvl2pPr>
            <a:lvl3pPr>
              <a:defRPr sz="1769"/>
            </a:lvl3pPr>
            <a:lvl4pPr>
              <a:defRPr sz="1474"/>
            </a:lvl4pPr>
            <a:lvl5pPr>
              <a:defRPr sz="1474"/>
            </a:lvl5pPr>
            <a:lvl6pPr>
              <a:defRPr sz="1474"/>
            </a:lvl6pPr>
            <a:lvl7pPr>
              <a:defRPr sz="1474"/>
            </a:lvl7pPr>
            <a:lvl8pPr>
              <a:defRPr sz="1474"/>
            </a:lvl8pPr>
            <a:lvl9pPr>
              <a:defRPr sz="1474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180" y="2335054"/>
            <a:ext cx="2173483" cy="4325976"/>
          </a:xfrm>
        </p:spPr>
        <p:txBody>
          <a:bodyPr/>
          <a:lstStyle>
            <a:lvl1pPr marL="0" indent="0">
              <a:buNone/>
              <a:defRPr sz="1179"/>
            </a:lvl1pPr>
            <a:lvl2pPr marL="336956" indent="0">
              <a:buNone/>
              <a:defRPr sz="1032"/>
            </a:lvl2pPr>
            <a:lvl3pPr marL="673913" indent="0">
              <a:buNone/>
              <a:defRPr sz="884"/>
            </a:lvl3pPr>
            <a:lvl4pPr marL="1010869" indent="0">
              <a:buNone/>
              <a:defRPr sz="737"/>
            </a:lvl4pPr>
            <a:lvl5pPr marL="1347826" indent="0">
              <a:buNone/>
              <a:defRPr sz="737"/>
            </a:lvl5pPr>
            <a:lvl6pPr marL="1684782" indent="0">
              <a:buNone/>
              <a:defRPr sz="737"/>
            </a:lvl6pPr>
            <a:lvl7pPr marL="2021738" indent="0">
              <a:buNone/>
              <a:defRPr sz="737"/>
            </a:lvl7pPr>
            <a:lvl8pPr marL="2358695" indent="0">
              <a:buNone/>
              <a:defRPr sz="737"/>
            </a:lvl8pPr>
            <a:lvl9pPr marL="2695651" indent="0">
              <a:buNone/>
              <a:defRPr sz="73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495560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180" y="518901"/>
            <a:ext cx="2173483" cy="1816153"/>
          </a:xfrm>
        </p:spPr>
        <p:txBody>
          <a:bodyPr anchor="b"/>
          <a:lstStyle>
            <a:lvl1pPr>
              <a:defRPr sz="2358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64927" y="1120683"/>
            <a:ext cx="3411587" cy="5531339"/>
          </a:xfrm>
        </p:spPr>
        <p:txBody>
          <a:bodyPr anchor="t"/>
          <a:lstStyle>
            <a:lvl1pPr marL="0" indent="0">
              <a:buNone/>
              <a:defRPr sz="2358"/>
            </a:lvl1pPr>
            <a:lvl2pPr marL="336956" indent="0">
              <a:buNone/>
              <a:defRPr sz="2064"/>
            </a:lvl2pPr>
            <a:lvl3pPr marL="673913" indent="0">
              <a:buNone/>
              <a:defRPr sz="1769"/>
            </a:lvl3pPr>
            <a:lvl4pPr marL="1010869" indent="0">
              <a:buNone/>
              <a:defRPr sz="1474"/>
            </a:lvl4pPr>
            <a:lvl5pPr marL="1347826" indent="0">
              <a:buNone/>
              <a:defRPr sz="1474"/>
            </a:lvl5pPr>
            <a:lvl6pPr marL="1684782" indent="0">
              <a:buNone/>
              <a:defRPr sz="1474"/>
            </a:lvl6pPr>
            <a:lvl7pPr marL="2021738" indent="0">
              <a:buNone/>
              <a:defRPr sz="1474"/>
            </a:lvl7pPr>
            <a:lvl8pPr marL="2358695" indent="0">
              <a:buNone/>
              <a:defRPr sz="1474"/>
            </a:lvl8pPr>
            <a:lvl9pPr marL="2695651" indent="0">
              <a:buNone/>
              <a:defRPr sz="1474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180" y="2335054"/>
            <a:ext cx="2173483" cy="4325976"/>
          </a:xfrm>
        </p:spPr>
        <p:txBody>
          <a:bodyPr/>
          <a:lstStyle>
            <a:lvl1pPr marL="0" indent="0">
              <a:buNone/>
              <a:defRPr sz="1179"/>
            </a:lvl1pPr>
            <a:lvl2pPr marL="336956" indent="0">
              <a:buNone/>
              <a:defRPr sz="1032"/>
            </a:lvl2pPr>
            <a:lvl3pPr marL="673913" indent="0">
              <a:buNone/>
              <a:defRPr sz="884"/>
            </a:lvl3pPr>
            <a:lvl4pPr marL="1010869" indent="0">
              <a:buNone/>
              <a:defRPr sz="737"/>
            </a:lvl4pPr>
            <a:lvl5pPr marL="1347826" indent="0">
              <a:buNone/>
              <a:defRPr sz="737"/>
            </a:lvl5pPr>
            <a:lvl6pPr marL="1684782" indent="0">
              <a:buNone/>
              <a:defRPr sz="737"/>
            </a:lvl6pPr>
            <a:lvl7pPr marL="2021738" indent="0">
              <a:buNone/>
              <a:defRPr sz="737"/>
            </a:lvl7pPr>
            <a:lvl8pPr marL="2358695" indent="0">
              <a:buNone/>
              <a:defRPr sz="737"/>
            </a:lvl8pPr>
            <a:lvl9pPr marL="2695651" indent="0">
              <a:buNone/>
              <a:defRPr sz="73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094603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302" y="414402"/>
            <a:ext cx="5812334" cy="1504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302" y="2072000"/>
            <a:ext cx="5812334" cy="49385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3302" y="7214165"/>
            <a:ext cx="1516261" cy="41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4DDC6C-D378-C642-9E38-D526B1AA12FC}" type="datetimeFigureOut">
              <a:rPr lang="en-CH" smtClean="0"/>
              <a:t>10.01.2025</a:t>
            </a:fld>
            <a:endParaRPr lang="en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2273" y="7214165"/>
            <a:ext cx="2274392" cy="41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59375" y="7214165"/>
            <a:ext cx="1516261" cy="41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4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B20D801-8F9C-DA48-A62D-0E4EF9D4DC02}" type="slidenum">
              <a:rPr lang="en-CH" smtClean="0"/>
              <a:t>‹#›</a:t>
            </a:fld>
            <a:endParaRPr lang="en-CH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344A26-85C8-D2AE-B31E-7460E3DBB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09901797"/>
              </p:ext>
            </p:extLst>
          </p:nvPr>
        </p:nvGraphicFramePr>
        <p:xfrm>
          <a:off x="1508" y="1588"/>
          <a:ext cx="116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48BCA0-80B0-066A-A2A6-5264AA618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08" y="1588"/>
                        <a:ext cx="116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2954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673913" rtl="0" eaLnBrk="1" latinLnBrk="0" hangingPunct="1">
        <a:lnSpc>
          <a:spcPct val="90000"/>
        </a:lnSpc>
        <a:spcBef>
          <a:spcPct val="0"/>
        </a:spcBef>
        <a:buNone/>
        <a:defRPr sz="324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478" indent="-168478" algn="l" defTabSz="673913" rtl="0" eaLnBrk="1" latinLnBrk="0" hangingPunct="1">
        <a:lnSpc>
          <a:spcPct val="90000"/>
        </a:lnSpc>
        <a:spcBef>
          <a:spcPts val="737"/>
        </a:spcBef>
        <a:buFont typeface="Arial" panose="020B0604020202020204" pitchFamily="34" charset="0"/>
        <a:buChar char="•"/>
        <a:defRPr sz="2064" kern="1200">
          <a:solidFill>
            <a:schemeClr val="tx1"/>
          </a:solidFill>
          <a:latin typeface="+mn-lt"/>
          <a:ea typeface="+mn-ea"/>
          <a:cs typeface="+mn-cs"/>
        </a:defRPr>
      </a:lvl1pPr>
      <a:lvl2pPr marL="505435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769" kern="1200">
          <a:solidFill>
            <a:schemeClr val="tx1"/>
          </a:solidFill>
          <a:latin typeface="+mn-lt"/>
          <a:ea typeface="+mn-ea"/>
          <a:cs typeface="+mn-cs"/>
        </a:defRPr>
      </a:lvl2pPr>
      <a:lvl3pPr marL="842391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474" kern="1200">
          <a:solidFill>
            <a:schemeClr val="tx1"/>
          </a:solidFill>
          <a:latin typeface="+mn-lt"/>
          <a:ea typeface="+mn-ea"/>
          <a:cs typeface="+mn-cs"/>
        </a:defRPr>
      </a:lvl3pPr>
      <a:lvl4pPr marL="1179347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7" kern="1200">
          <a:solidFill>
            <a:schemeClr val="tx1"/>
          </a:solidFill>
          <a:latin typeface="+mn-lt"/>
          <a:ea typeface="+mn-ea"/>
          <a:cs typeface="+mn-cs"/>
        </a:defRPr>
      </a:lvl4pPr>
      <a:lvl5pPr marL="1516304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7" kern="1200">
          <a:solidFill>
            <a:schemeClr val="tx1"/>
          </a:solidFill>
          <a:latin typeface="+mn-lt"/>
          <a:ea typeface="+mn-ea"/>
          <a:cs typeface="+mn-cs"/>
        </a:defRPr>
      </a:lvl5pPr>
      <a:lvl6pPr marL="1853260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7" kern="1200">
          <a:solidFill>
            <a:schemeClr val="tx1"/>
          </a:solidFill>
          <a:latin typeface="+mn-lt"/>
          <a:ea typeface="+mn-ea"/>
          <a:cs typeface="+mn-cs"/>
        </a:defRPr>
      </a:lvl6pPr>
      <a:lvl7pPr marL="2190217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7" kern="1200">
          <a:solidFill>
            <a:schemeClr val="tx1"/>
          </a:solidFill>
          <a:latin typeface="+mn-lt"/>
          <a:ea typeface="+mn-ea"/>
          <a:cs typeface="+mn-cs"/>
        </a:defRPr>
      </a:lvl7pPr>
      <a:lvl8pPr marL="2527173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7" kern="1200">
          <a:solidFill>
            <a:schemeClr val="tx1"/>
          </a:solidFill>
          <a:latin typeface="+mn-lt"/>
          <a:ea typeface="+mn-ea"/>
          <a:cs typeface="+mn-cs"/>
        </a:defRPr>
      </a:lvl8pPr>
      <a:lvl9pPr marL="2864129" indent="-168478" algn="l" defTabSz="673913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1pPr>
      <a:lvl2pPr marL="336956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2pPr>
      <a:lvl3pPr marL="673913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3pPr>
      <a:lvl4pPr marL="1010869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4pPr>
      <a:lvl5pPr marL="1347826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5pPr>
      <a:lvl6pPr marL="1684782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6pPr>
      <a:lvl7pPr marL="2021738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7pPr>
      <a:lvl8pPr marL="2358695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8pPr>
      <a:lvl9pPr marL="2695651" algn="l" defTabSz="673913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F52F1DC-9A16-D67E-81E9-05F38143F7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8715292"/>
              </p:ext>
            </p:extLst>
          </p:nvPr>
        </p:nvGraphicFramePr>
        <p:xfrm>
          <a:off x="-178593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78593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7FF3EF8-931C-EC53-6BA6-25D8718CC2A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34" b="8030"/>
          <a:stretch/>
        </p:blipFill>
        <p:spPr>
          <a:xfrm>
            <a:off x="224063" y="3563348"/>
            <a:ext cx="6290815" cy="34550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0B515CC-9A7D-2B62-20BC-7C0FE8E7B51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1936" b="7558"/>
          <a:stretch/>
        </p:blipFill>
        <p:spPr>
          <a:xfrm>
            <a:off x="224061" y="0"/>
            <a:ext cx="6290815" cy="35623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F17DE8E-B839-1050-52F6-5AB75B25C89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-1198" t="86638" r="1198" b="-598"/>
          <a:stretch/>
        </p:blipFill>
        <p:spPr>
          <a:xfrm>
            <a:off x="0" y="7018383"/>
            <a:ext cx="6738938" cy="53555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712554D-2CE5-CE0D-2A53-4945F1A713A7}"/>
              </a:ext>
            </a:extLst>
          </p:cNvPr>
          <p:cNvSpPr txBox="1"/>
          <p:nvPr/>
        </p:nvSpPr>
        <p:spPr>
          <a:xfrm>
            <a:off x="372770" y="180853"/>
            <a:ext cx="527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2000" dirty="0"/>
              <a:t>(a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59118E-84CC-743B-C6F3-47292C2D4A0A}"/>
              </a:ext>
            </a:extLst>
          </p:cNvPr>
          <p:cNvSpPr txBox="1"/>
          <p:nvPr/>
        </p:nvSpPr>
        <p:spPr>
          <a:xfrm>
            <a:off x="372771" y="3562336"/>
            <a:ext cx="2200913" cy="392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863" dirty="0"/>
              <a:t>(b)</a:t>
            </a:r>
          </a:p>
        </p:txBody>
      </p:sp>
    </p:spTree>
    <p:extLst>
      <p:ext uri="{BB962C8B-B14F-4D97-AF65-F5344CB8AC3E}">
        <p14:creationId xmlns:p14="http://schemas.microsoft.com/office/powerpoint/2010/main" val="3048537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227</TotalTime>
  <Words>7</Words>
  <Application>Microsoft Macintosh PowerPoint</Application>
  <PresentationFormat>Custom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olz  Niklas</dc:creator>
  <cp:lastModifiedBy>Stolz  Niklas</cp:lastModifiedBy>
  <cp:revision>9</cp:revision>
  <dcterms:created xsi:type="dcterms:W3CDTF">2024-08-16T13:15:48Z</dcterms:created>
  <dcterms:modified xsi:type="dcterms:W3CDTF">2025-01-10T18:22:27Z</dcterms:modified>
</cp:coreProperties>
</file>